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1" r:id="rId1"/>
  </p:sldMasterIdLst>
  <p:notesMasterIdLst>
    <p:notesMasterId r:id="rId7"/>
  </p:notesMasterIdLst>
  <p:sldIdLst>
    <p:sldId id="288" r:id="rId2"/>
    <p:sldId id="292" r:id="rId3"/>
    <p:sldId id="281" r:id="rId4"/>
    <p:sldId id="289" r:id="rId5"/>
    <p:sldId id="290" r:id="rId6"/>
  </p:sldIdLst>
  <p:sldSz cx="12192000" cy="6858000"/>
  <p:notesSz cx="6858000" cy="9144000"/>
  <p:defaultTextStyle>
    <a:defPPr lvl="0">
      <a:defRPr lang="ru-RU"/>
    </a:defPPr>
    <a:lvl1pPr marL="0" lvl="0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67" lvl="1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32" lvl="2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98" lvl="3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64" lvl="4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30" lvl="5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94" lvl="6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160" lvl="7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327" lvl="8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olozovaYuN" initials="P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42653"/>
    <a:srgbClr val="D3525D"/>
    <a:srgbClr val="584E8C"/>
    <a:srgbClr val="5E5288"/>
    <a:srgbClr val="D04E77"/>
    <a:srgbClr val="D3595D"/>
    <a:srgbClr val="DC595D"/>
    <a:srgbClr val="DC5D59"/>
    <a:srgbClr val="E4003A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24" autoAdjust="0"/>
    <p:restoredTop sz="94369" autoAdjust="0"/>
  </p:normalViewPr>
  <p:slideViewPr>
    <p:cSldViewPr snapToGrid="0">
      <p:cViewPr varScale="1">
        <p:scale>
          <a:sx n="116" d="100"/>
          <a:sy n="116" d="100"/>
        </p:scale>
        <p:origin x="-786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49C9C1-5CCD-40D6-83FC-BBE0327AA7F6}" type="datetimeFigureOut">
              <a:rPr lang="ru-RU" smtClean="0"/>
              <a:pPr/>
              <a:t>07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B83E4-8D8C-4B33-A64B-A27992F841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775747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7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32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3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4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7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0659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12590263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4197" name="Слайд think-cell" r:id="rId3" imgW="7761960" imgH="10047960" progId="">
              <p:embed/>
            </p:oleObj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712338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2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9325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7546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9040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1203598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3173" name="Слайд think-cell" r:id="rId8" imgW="7761960" imgH="10047960" progId="">
              <p:embed/>
            </p:oleObj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67" y="299702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4" tIns="45718" rIns="91434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57286" y="136528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861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ctr" defTabSz="914332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20333" y="1057557"/>
            <a:ext cx="9336550" cy="2677652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ПРЕДОСТАВЛЕНИЕ СУБСИДИЙ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СУБЪЕКТАМ МСП  В РАМКАХ муниципальной ПРОГРАММЫ «ПРЕДПРИНИМАТЕЛЬСТВО» 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в </a:t>
            </a:r>
            <a:r>
              <a:rPr lang="ru-RU" dirty="0" smtClean="0">
                <a:solidFill>
                  <a:srgbClr val="7030A0"/>
                </a:solidFill>
              </a:rPr>
              <a:t>2021 </a:t>
            </a:r>
            <a:r>
              <a:rPr lang="ru-RU" dirty="0" smtClean="0">
                <a:solidFill>
                  <a:srgbClr val="7030A0"/>
                </a:solidFill>
              </a:rPr>
              <a:t>году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444359" y="6117021"/>
            <a:ext cx="24384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ктябрь </a:t>
            </a:r>
            <a:r>
              <a:rPr lang="ru-RU" dirty="0" smtClean="0"/>
              <a:t>2021 </a:t>
            </a:r>
            <a:r>
              <a:rPr lang="ru-RU" dirty="0" smtClean="0"/>
              <a:t>г.</a:t>
            </a:r>
            <a:endParaRPr lang="ru-R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20333" y="1057557"/>
            <a:ext cx="9336550" cy="4524311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>Подпрограмма III «Развитие малого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и среднего предпринимательства»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 муниципальной программы Талдомского городского округа Московской области «Предпринимательство»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на 2020 – 2024 годы,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утвержденной  Постановлением главы Талдомского городского округа от 01.11.2019 № 2288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«Об утверждении муниципальной программы Талдомского городского округа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«Предпринимательство» </a:t>
            </a:r>
            <a:br>
              <a:rPr lang="ru-RU" dirty="0" smtClean="0">
                <a:solidFill>
                  <a:srgbClr val="7030A0"/>
                </a:solidFill>
              </a:rPr>
            </a:br>
            <a:endParaRPr lang="ru-RU" dirty="0">
              <a:solidFill>
                <a:srgbClr val="7030A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5F0C73CC-343A-1D4D-8631-FBFE248A928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782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p:oleObj spid="_x0000_s14440" name="Слайд think-cell" r:id="rId4" imgW="7761960" imgH="10047960" progId="">
              <p:embed/>
            </p:oleObj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F5E654AE-CA4A-274A-8B8B-F7DE8AC6FCFC}"/>
              </a:ext>
            </a:extLst>
          </p:cNvPr>
          <p:cNvSpPr/>
          <p:nvPr/>
        </p:nvSpPr>
        <p:spPr>
          <a:xfrm>
            <a:off x="1122932" y="104594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914309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325821" y="332341"/>
            <a:ext cx="10689019" cy="461661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400" dirty="0">
                <a:solidFill>
                  <a:srgbClr val="7030A0"/>
                </a:solidFill>
                <a:ea typeface="+mn-ea"/>
              </a:rPr>
              <a:t>Субсидии субъектам </a:t>
            </a:r>
            <a:r>
              <a:rPr lang="ru-RU" sz="2400" dirty="0" smtClean="0">
                <a:solidFill>
                  <a:srgbClr val="7030A0"/>
                </a:solidFill>
                <a:ea typeface="+mn-ea"/>
              </a:rPr>
              <a:t>МСП по </a:t>
            </a:r>
            <a:r>
              <a:rPr lang="ru-RU" sz="2400" dirty="0" smtClean="0">
                <a:solidFill>
                  <a:srgbClr val="7030A0"/>
                </a:solidFill>
                <a:ea typeface="+mn-ea"/>
              </a:rPr>
              <a:t>муниципальной программе</a:t>
            </a:r>
            <a:endParaRPr lang="ru-RU" sz="24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75621212"/>
              </p:ext>
            </p:extLst>
          </p:nvPr>
        </p:nvGraphicFramePr>
        <p:xfrm>
          <a:off x="1149155" y="1049054"/>
          <a:ext cx="10464776" cy="55152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11516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7853260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5392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</a:t>
                      </a: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</a:t>
                      </a:r>
                      <a:r>
                        <a:rPr lang="ru-RU" sz="16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лдомского городского округа </a:t>
                      </a:r>
                      <a:endParaRPr lang="ru-RU" sz="1600" b="0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427174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</a:t>
                      </a:r>
                      <a:r>
                        <a:rPr lang="ru-RU" sz="16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еханизм</a:t>
                      </a: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: </a:t>
                      </a:r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r>
                        <a:rPr lang="ru-RU" sz="16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курс:</a:t>
                      </a:r>
                      <a:endParaRPr lang="ru-RU" sz="1600" b="1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6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.руб.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100" b="1" dirty="0" smtClean="0">
                        <a:solidFill>
                          <a:srgbClr val="EA3E72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baseline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орудование, относящиеся ко второй и выше амортизационным группам </a:t>
                      </a: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(пост. Правительства РФ от 01.01.2002 г. №1)</a:t>
                      </a:r>
                      <a:r>
                        <a:rPr lang="ru-RU" sz="1600" b="1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новое оборудование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дата изготовления (выпуска) оборудования до 5 лет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не предназначенного для оптовой и розничной торговой деятельности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1600" b="0" baseline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>
                        <a:buFontTx/>
                        <a:buNone/>
                      </a:pP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сутствие задолженности по налогам, сборам и иным обязательным платежам в бюджеты.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егистрация и ведение деятельности субъекта малого и среднего предпринимательства на территории Талдомского</a:t>
                      </a:r>
                      <a:r>
                        <a:rPr lang="ru-RU" sz="1600" kern="120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родского округа</a:t>
                      </a: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baseline="0" dirty="0" smtClean="0">
                        <a:solidFill>
                          <a:srgbClr val="EA3E72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 </a:t>
                      </a: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ктября – </a:t>
                      </a: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 </a:t>
                      </a: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ября </a:t>
                      </a: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21 </a:t>
                      </a: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ода </a:t>
                      </a:r>
                      <a:endParaRPr lang="ru-RU" sz="1600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78958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1038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3631" y="1800352"/>
            <a:ext cx="413847" cy="41384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944" y="2996496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1867288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56745" y="868369"/>
            <a:ext cx="10773103" cy="4401201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rgbClr val="7030A0"/>
                </a:solidFill>
                <a:ea typeface="+mn-ea"/>
              </a:rPr>
              <a:t>Консультации по вопросам получения субсидий</a:t>
            </a:r>
          </a:p>
          <a:p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Администрация Талдомского городского округа</a:t>
            </a:r>
            <a:endParaRPr lang="en-US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Комитет по экономике </a:t>
            </a: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8 (49620) </a:t>
            </a:r>
            <a:r>
              <a:rPr lang="ru-RU" sz="2800" dirty="0" smtClean="0">
                <a:solidFill>
                  <a:srgbClr val="7030A0"/>
                </a:solidFill>
                <a:ea typeface="+mn-ea"/>
              </a:rPr>
              <a:t>333-23 (127)</a:t>
            </a:r>
            <a:endParaRPr lang="en-US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en-US" sz="2800" dirty="0" smtClean="0">
                <a:solidFill>
                  <a:srgbClr val="7030A0"/>
                </a:solidFill>
                <a:ea typeface="+mn-ea"/>
              </a:rPr>
              <a:t>e-mail: taldek@mail.ru</a:t>
            </a: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endParaRPr lang="ru-RU" sz="2800" dirty="0">
              <a:solidFill>
                <a:srgbClr val="7030A0"/>
              </a:solidFill>
              <a:ea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03202" y="2444921"/>
            <a:ext cx="6559296" cy="461663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rgbClr val="7030A0"/>
                </a:solidFill>
                <a:ea typeface="+mn-ea"/>
              </a:rPr>
              <a:t>Спасибо за внимание!</a:t>
            </a:r>
          </a:p>
          <a:p>
            <a:endParaRPr lang="ru-RU" sz="2800" dirty="0">
              <a:solidFill>
                <a:srgbClr val="7030A0"/>
              </a:solidFill>
              <a:ea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heme/theme1.xml><?xml version="1.0" encoding="utf-8"?>
<a:theme xmlns:a="http://schemas.openxmlformats.org/drawingml/2006/main" name="1_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6</TotalTime>
  <Words>166</Words>
  <Application>Microsoft Office PowerPoint</Application>
  <PresentationFormat>Произвольный</PresentationFormat>
  <Paragraphs>47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1_Тема Office</vt:lpstr>
      <vt:lpstr>Слайд think-cell</vt:lpstr>
      <vt:lpstr>  ПРЕДОСТАВЛЕНИЕ СУБСИДИЙ СУБЪЕКТАМ МСП  В РАМКАХ муниципальной ПРОГРАММЫ «ПРЕДПРИНИМАТЕЛЬСТВО»    в 2021 году</vt:lpstr>
      <vt:lpstr>Подпрограмма III «Развитие малого  и среднего предпринимательства»  муниципальной программы Талдомского городского округа Московской области «Предпринимательство»  на 2020 – 2024 годы,  утвержденной  Постановлением главы Талдомского городского округа от 01.11.2019 № 2288  «Об утверждении муниципальной программы Талдомского городского округа «Предпринимательство»  </vt:lpstr>
      <vt:lpstr>Слайд 3</vt:lpstr>
      <vt:lpstr>Консультации по вопросам получения субсидий   Администрация Талдомского городского округа  Комитет по экономике  8 (49620) 333-23 (127)  e-mail: taldek@mail.ru </vt:lpstr>
      <vt:lpstr>Спасибо за внимание!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ованова Александра Николаевна</dc:creator>
  <cp:lastModifiedBy>PolozovaYuN</cp:lastModifiedBy>
  <cp:revision>121</cp:revision>
  <dcterms:modified xsi:type="dcterms:W3CDTF">2021-10-07T06:20:44Z</dcterms:modified>
</cp:coreProperties>
</file>